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8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9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52.xml" ContentType="application/vnd.openxmlformats-officedocument.presentationml.slideLayout+xml"/>
  <Override PartName="/ppt/theme/theme10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1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2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3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705" r:id="rId5"/>
    <p:sldMasterId id="2147483739" r:id="rId6"/>
    <p:sldMasterId id="2147483761" r:id="rId7"/>
    <p:sldMasterId id="2147483804" r:id="rId8"/>
    <p:sldMasterId id="2147483834" r:id="rId9"/>
    <p:sldMasterId id="2147483848" r:id="rId10"/>
    <p:sldMasterId id="2147483882" r:id="rId11"/>
    <p:sldMasterId id="2147483912" r:id="rId12"/>
    <p:sldMasterId id="2147483934" r:id="rId13"/>
    <p:sldMasterId id="2147483939" r:id="rId14"/>
    <p:sldMasterId id="2147483952" r:id="rId15"/>
    <p:sldMasterId id="2147483955" r:id="rId16"/>
  </p:sldMasterIdLst>
  <p:notesMasterIdLst>
    <p:notesMasterId r:id="rId21"/>
  </p:notesMasterIdLst>
  <p:handoutMasterIdLst>
    <p:handoutMasterId r:id="rId22"/>
  </p:handoutMasterIdLst>
  <p:sldIdLst>
    <p:sldId id="958" r:id="rId17"/>
    <p:sldId id="969" r:id="rId18"/>
    <p:sldId id="963" r:id="rId19"/>
    <p:sldId id="961" r:id="rId20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58"/>
            <p14:sldId id="969"/>
            <p14:sldId id="963"/>
            <p14:sldId id="96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026" autoAdjust="0"/>
    <p:restoredTop sz="96325" autoAdjust="0"/>
  </p:normalViewPr>
  <p:slideViewPr>
    <p:cSldViewPr snapToGrid="0" snapToObjects="1">
      <p:cViewPr>
        <p:scale>
          <a:sx n="120" d="100"/>
          <a:sy n="120" d="100"/>
        </p:scale>
        <p:origin x="-240" y="234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5/1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5/1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8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8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8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8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8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8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8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8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8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8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94075"/>
            <a:ext cx="7772400" cy="124182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113" indent="0" algn="ctr">
              <a:buNone/>
              <a:defRPr sz="2000"/>
            </a:lvl2pPr>
            <a:lvl3pPr marL="914229" indent="0" algn="ctr">
              <a:buNone/>
              <a:defRPr sz="1800"/>
            </a:lvl3pPr>
            <a:lvl4pPr marL="1371343" indent="0" algn="ctr">
              <a:buNone/>
              <a:defRPr sz="1600"/>
            </a:lvl4pPr>
            <a:lvl5pPr marL="1828458" indent="0" algn="ctr">
              <a:buNone/>
              <a:defRPr sz="1600"/>
            </a:lvl5pPr>
            <a:lvl6pPr marL="2285572" indent="0" algn="ctr">
              <a:buNone/>
              <a:defRPr sz="1600"/>
            </a:lvl6pPr>
            <a:lvl7pPr marL="2742686" indent="0" algn="ctr">
              <a:buNone/>
              <a:defRPr sz="1600"/>
            </a:lvl7pPr>
            <a:lvl8pPr marL="3199801" indent="0" algn="ctr">
              <a:buNone/>
              <a:defRPr sz="1600"/>
            </a:lvl8pPr>
            <a:lvl9pPr marL="365691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8598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5/1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6344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3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5/1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2879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171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678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052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5/1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716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/14/20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5/1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5/1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5/1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5/14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5/1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5/14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884" y="564153"/>
            <a:ext cx="8912915" cy="41097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610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5/1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18-2022 C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876" y="544173"/>
            <a:ext cx="3886200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5051" y="544173"/>
            <a:ext cx="4979505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428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5/14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5/14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/>
              <a:pPr>
                <a:defRPr/>
              </a:pPr>
              <a:t>5/14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6624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901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5/14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am upda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827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76052" y="4767267"/>
            <a:ext cx="460562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fld id="{7FCBD675-CCB5-F148-8953-FBC584431A3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/>
          </p:nvPr>
        </p:nvSpPr>
        <p:spPr>
          <a:xfrm>
            <a:off x="109827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4"/>
          </p:nvPr>
        </p:nvSpPr>
        <p:spPr>
          <a:xfrm>
            <a:off x="4699055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5"/>
          </p:nvPr>
        </p:nvSpPr>
        <p:spPr>
          <a:xfrm>
            <a:off x="4699055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09538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699055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109827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699055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54486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790896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9" y="176154"/>
            <a:ext cx="8794113" cy="22374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2198" y="5016841"/>
            <a:ext cx="4389768" cy="1551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Pre-Decisional – For Discussion Only –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117024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43" tIns="40970" rIns="81943" bIns="4097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1168403" y="4683924"/>
            <a:ext cx="1006475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1239D56-CF2D-48AC-B0A6-E5B6013DB6FB}" type="datetime1">
              <a:rPr lang="en-US"/>
              <a:pPr>
                <a:defRPr/>
              </a:pPr>
              <a:t>5/14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5838" y="4683924"/>
            <a:ext cx="3268662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68971" y="4682736"/>
            <a:ext cx="1139825" cy="26789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/>
            </a:lvl1pPr>
          </a:lstStyle>
          <a:p>
            <a:pPr>
              <a:defRPr/>
            </a:pPr>
            <a:fld id="{7F125421-B14A-4738-9A3F-B335B3B78F9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83933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5/1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516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38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9718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5/14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5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4" Type="http://schemas.openxmlformats.org/officeDocument/2006/relationships/image" Target="../media/image14.jp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image" Target="../media/image3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6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image" Target="../media/image7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image" Target="../media/image7.jpeg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8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9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92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image" Target="../media/image7.jpeg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35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884" y="57273"/>
            <a:ext cx="6497707" cy="429193"/>
          </a:xfrm>
          <a:prstGeom prst="rect">
            <a:avLst/>
          </a:prstGeom>
        </p:spPr>
        <p:txBody>
          <a:bodyPr vert="horz" lIns="91422" tIns="45711" rIns="91422" bIns="4571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876" y="564151"/>
            <a:ext cx="7886700" cy="3263504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501465"/>
            <a:ext cx="9144000" cy="342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1500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6861" y="4791117"/>
            <a:ext cx="1507386" cy="31403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" y="4976340"/>
            <a:ext cx="325694" cy="230814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fld id="{DAFD694C-1B1D-44B5-B79E-A4FFB8D14BE0}" type="slidenum">
              <a:rPr lang="en-US" sz="900" b="1" smtClean="0">
                <a:solidFill>
                  <a:schemeClr val="accent5"/>
                </a:solidFill>
              </a:rPr>
              <a:t>‹#›</a:t>
            </a:fld>
            <a:endParaRPr lang="en-US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577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737" r:id="rId5"/>
    <p:sldLayoutId id="2147483843" r:id="rId6"/>
    <p:sldLayoutId id="2147483844" r:id="rId7"/>
  </p:sldLayoutIdLst>
  <p:hf hdr="0" dt="0"/>
  <p:txStyles>
    <p:titleStyle>
      <a:lvl1pPr algn="l" defTabSz="914229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57" indent="-228557" algn="l" defTabSz="91422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71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7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00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15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29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/14/20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5/14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5/14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90" r:id="rId25"/>
    <p:sldLayoutId id="2147483803" r:id="rId26"/>
    <p:sldLayoutId id="21474838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5/1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30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5/14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  <p:sldLayoutId id="2147483865" r:id="rId1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10" r:id="rId25"/>
    <p:sldLayoutId id="2147483911" r:id="rId26"/>
    <p:sldLayoutId id="21474839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5/1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MCB Calendar – Recurring Topic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6026724"/>
              </p:ext>
            </p:extLst>
          </p:nvPr>
        </p:nvGraphicFramePr>
        <p:xfrm>
          <a:off x="625784" y="886473"/>
          <a:ext cx="7858985" cy="382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95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 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TC update</a:t>
                      </a:r>
                      <a:endParaRPr lang="en-US" sz="1100" dirty="0"/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LEAN Productivity 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Pension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Bus Performance Metrics 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Bus service/service planning </a:t>
                      </a:r>
                      <a:endParaRPr lang="en-US" dirty="0"/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he RIDE/TNC pilot  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3rd meeting of month) - April 23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May 21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1st meeting of month) -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May 7, June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Feb 26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ne 4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Feb 26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May 14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Feb 26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May 21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May 7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ugust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Quarterly – March 19, 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June 11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Beginning May TBD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Quarterly – After Contract TBD 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Quarterly – TBD 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Quarterly – TBD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ontinuous, as needed </a:t>
                      </a:r>
                      <a:endParaRPr lang="en-US" dirty="0"/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ontinuous, as needed 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in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5087561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in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pcoming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4C9450A-715D-486F-AD88-7ABB11E3AE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817564"/>
              </p:ext>
            </p:extLst>
          </p:nvPr>
        </p:nvGraphicFramePr>
        <p:xfrm>
          <a:off x="676275" y="841375"/>
          <a:ext cx="7839072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7874">
                  <a:extLst>
                    <a:ext uri="{9D8B030D-6E8A-4147-A177-3AD203B41FA5}">
                      <a16:colId xmlns:a16="http://schemas.microsoft.com/office/drawing/2014/main" val="3089393838"/>
                    </a:ext>
                  </a:extLst>
                </a:gridCol>
                <a:gridCol w="3652906">
                  <a:extLst>
                    <a:ext uri="{9D8B030D-6E8A-4147-A177-3AD203B41FA5}">
                      <a16:colId xmlns:a16="http://schemas.microsoft.com/office/drawing/2014/main" val="4069965815"/>
                    </a:ext>
                  </a:extLst>
                </a:gridCol>
                <a:gridCol w="1011251">
                  <a:extLst>
                    <a:ext uri="{9D8B030D-6E8A-4147-A177-3AD203B41FA5}">
                      <a16:colId xmlns:a16="http://schemas.microsoft.com/office/drawing/2014/main" val="2131481619"/>
                    </a:ext>
                  </a:extLst>
                </a:gridCol>
                <a:gridCol w="2397041">
                  <a:extLst>
                    <a:ext uri="{9D8B030D-6E8A-4147-A177-3AD203B41FA5}">
                      <a16:colId xmlns:a16="http://schemas.microsoft.com/office/drawing/2014/main" val="3446209182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91440" indent="0" algn="l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indent="0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te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indent="0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diu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indent="0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te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61877887"/>
                  </a:ext>
                </a:extLst>
              </a:tr>
              <a:tr h="274320">
                <a:tc rowSpan="6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effectLst/>
                          <a:latin typeface="Arial"/>
                        </a:rPr>
                        <a:t>May 21 (134)</a:t>
                      </a:r>
                    </a:p>
                  </a:txBody>
                  <a:tcPr marL="0" marR="0" marT="0" marB="0" anchor="ctr"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118745" lvl="0" indent="0">
                        <a:buFont typeface="+mj-lt"/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muter Rail Performance Upd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</a:rPr>
                        <a:t>Monthly Updat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31137009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Font typeface="+mj-lt"/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FC 2.0 Update and Outreach Pl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</a:rPr>
                        <a:t>Quarterly Update </a:t>
                      </a: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93957397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lvl="0" indent="0">
                        <a:buFont typeface="+mj-lt"/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inancial Upd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</a:rPr>
                        <a:t>Quarterly</a:t>
                      </a: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</a:rPr>
                        <a:t> Update</a:t>
                      </a:r>
                      <a:endParaRPr lang="en-US" sz="110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Font typeface="+mj-lt"/>
                        <a:buNone/>
                      </a:pPr>
                      <a:r>
                        <a:rPr lang="en-US" sz="1100" dirty="0">
                          <a:effectLst/>
                          <a:latin typeface="Arial"/>
                        </a:rPr>
                        <a:t>Commuter Rail Zone Evaluat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None/>
                      </a:pPr>
                      <a:r>
                        <a:rPr lang="en-US" sz="1100" dirty="0"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None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92466857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lvl="0">
                        <a:buNone/>
                      </a:pPr>
                      <a:r>
                        <a:rPr lang="en-US" sz="1100" dirty="0">
                          <a:effectLst/>
                          <a:latin typeface="Arial"/>
                        </a:rPr>
                        <a:t>Late Night Service Updat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>
                        <a:buNone/>
                      </a:pPr>
                      <a:r>
                        <a:rPr lang="en-US" sz="1100" dirty="0"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>
                        <a:buNone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96686894"/>
                  </a:ext>
                </a:extLst>
              </a:tr>
              <a:tr h="274320">
                <a:tc v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200" b="1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118745" lvl="0" indent="0">
                        <a:buFont typeface="+mj-lt"/>
                        <a:buNone/>
                      </a:pPr>
                      <a:endParaRPr lang="en-US" sz="1100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None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0">
                        <a:buNone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1256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2513147"/>
              </p:ext>
            </p:extLst>
          </p:nvPr>
        </p:nvGraphicFramePr>
        <p:xfrm>
          <a:off x="339213" y="701449"/>
          <a:ext cx="8415173" cy="38306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25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052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3579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  <a:gridCol w="29737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4918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745" lvl="0" indent="-118745" algn="l"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ediu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row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ne 4*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35)</a:t>
                      </a:r>
                      <a:endParaRPr lang="en-US" sz="1100" b="1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Parking Policy and Commuter Rail Summer Promotions 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HR Update: Q1 2018</a:t>
                      </a:r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Quarterly Update, Bus operator hires</a:t>
                      </a:r>
                      <a:endParaRPr lang="en-US" sz="110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lvl="0" indent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TNC RIDE Pilot Update</a:t>
                      </a:r>
                      <a:endParaRPr lang="en-US" sz="1100" dirty="0">
                        <a:latin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noProof="0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30472741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lvl="0" indent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Green Line Train Protection Contract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/>
                        </a:rPr>
                        <a:t>Discussion and Possible Action 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48169476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/>
                    <a:p>
                      <a:pPr marL="91440" lvl="0" indent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2836657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6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6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6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6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336651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ne 11 (136) – 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91440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  GLX Update (Joint)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-118745" algn="l" defTabSz="914400" eaLnBrk="1" latinLnBrk="0" hangingPunct="1">
                        <a:buNone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  PPT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-118745" algn="l" defTabSz="914400" eaLnBrk="1" latinLnBrk="0" hangingPunct="1">
                        <a:buNone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   Quarterly Update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/>
                    <a:p>
                      <a:pPr marL="91440" lvl="0" indent="-118745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-118745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-118745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4221241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6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6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600" b="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600" b="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222718"/>
                  </a:ext>
                </a:extLst>
              </a:tr>
              <a:tr h="174625">
                <a:tc row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ne 18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37)</a:t>
                      </a:r>
                      <a:endParaRPr lang="en-US" sz="1100" b="1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91440" marR="0" lvl="0" indent="-118745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100" dirty="0">
                          <a:effectLst/>
                          <a:latin typeface="Arial"/>
                        </a:rPr>
                        <a:t>    Service Goals Review (Target Setting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indent="-118745" algn="l">
                        <a:buNone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-118745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Arial"/>
                        </a:rPr>
                        <a:t>     Review status of adopted service goals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   </a:t>
                      </a:r>
                      <a:r>
                        <a:rPr lang="en-US" sz="1100" b="0" i="0" u="none" strike="noStrike" noProof="0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Focus40 Update </a:t>
                      </a:r>
                      <a:endParaRPr lang="en-US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6451604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91440" lvl="0" indent="-118745" algn="l">
                        <a:buFont typeface="Arial" panose="020B0604020202020204" pitchFamily="34" charset="0"/>
                        <a:buNone/>
                        <a:tabLst>
                          <a:tab pos="228600" algn="l"/>
                        </a:tabLst>
                      </a:pPr>
                      <a:r>
                        <a:rPr lang="en-US" sz="1100" dirty="0">
                          <a:effectLst/>
                          <a:latin typeface="Arial"/>
                        </a:rPr>
                        <a:t>    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indent="-118745" algn="l">
                        <a:buNone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indent="-118745" algn="l">
                        <a:buNone/>
                      </a:pPr>
                      <a:endParaRPr lang="en-US" sz="1100" dirty="0">
                        <a:latin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6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/>
                        <a:buNone/>
                        <a:tabLst/>
                        <a:defRPr/>
                      </a:pPr>
                      <a:endParaRPr lang="en-US" sz="6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latinLnBrk="0" hangingPunct="1">
                        <a:buNone/>
                      </a:pPr>
                      <a:endParaRPr lang="en-US" sz="6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latinLnBrk="0" hangingPunct="1">
                        <a:buNone/>
                      </a:pPr>
                      <a:endParaRPr lang="en-US" sz="6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ne</a:t>
                      </a:r>
                      <a:b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</a:b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BD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91440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  5-Year Pro Forma 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-118745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-118745" algn="l" defTabSz="914400" eaLnBrk="1" latinLnBrk="0" hangingPunct="1">
                        <a:buNone/>
                      </a:pPr>
                      <a:endParaRPr lang="en-US" sz="1100" b="0" i="0" u="none" strike="noStrike" kern="1200" baseline="0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Bus Network Redesign</a:t>
                      </a:r>
                      <a:endParaRPr lang="en-US" sz="110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530709155"/>
                  </a:ext>
                </a:extLst>
              </a:tr>
              <a:tr h="2381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  Red/Orange Line Program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-118745" algn="l" defTabSz="914400" eaLnBrk="1" latinLnBrk="0" hangingPunct="1">
                        <a:buNone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    Monthly Update</a:t>
                      </a:r>
                      <a:endParaRPr lang="en-US" sz="110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812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</a:rPr>
                        <a:t>  LEAN Productivity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lvl="0" indent="-118745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91440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    Progress/status of attainment</a:t>
                      </a: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in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17363232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048659551"/>
              </p:ext>
            </p:extLst>
          </p:nvPr>
        </p:nvGraphicFramePr>
        <p:xfrm>
          <a:off x="461963" y="950913"/>
          <a:ext cx="8405653" cy="35361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6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3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7976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strike="noStrike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Dwell tim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strike="noStrike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  <a:endParaRPr lang="en-US" sz="1100" strike="noStrike" baseline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strike="noStrike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Trespasser Strikes</a:t>
                      </a:r>
                      <a:endParaRPr lang="en-US" sz="1100" strike="noStrike" baseline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strike="noStrike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  <a:endParaRPr lang="en-US" sz="1100" strike="noStrike" baseline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strike="noStrike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Enterprise Asset Management</a:t>
                      </a:r>
                      <a:endParaRPr lang="en-US" sz="1100" strike="noStrike" baseline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strike="noStrike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Locomotive Overhaul Programs Update</a:t>
                      </a:r>
                      <a:endParaRPr lang="en-US" sz="1100" strike="noStrike" baseline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strike="noStrike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Drone Policy </a:t>
                      </a:r>
                      <a:endParaRPr lang="en-US" sz="1100" strike="noStrike" baseline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strike="noStrike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  <a:endParaRPr lang="en-US" sz="1100" strike="noStrike" baseline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strike="noStrike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  <a:endParaRPr lang="en-US" sz="1100" strike="noStrike" baseline="0">
                        <a:solidFill>
                          <a:srgbClr val="000000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5 Year Pro Forma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Bus Dropped Trips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Uniforms 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effectLst/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+mn-cs"/>
                        </a:rPr>
                        <a:t>Working group update on activities and action plan</a:t>
                      </a:r>
                      <a:endParaRPr lang="en-US" sz="1100" kern="1200" baseline="0">
                        <a:solidFill>
                          <a:srgbClr val="000000"/>
                        </a:solidFill>
                        <a:effectLst/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effectLst/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+mn-cs"/>
                        </a:rPr>
                        <a:t>Capital Delivery and Asset Management framework and strategy</a:t>
                      </a:r>
                      <a:endParaRPr lang="en-US" sz="1100" kern="1200" baseline="0">
                        <a:solidFill>
                          <a:srgbClr val="000000"/>
                        </a:solidFill>
                        <a:effectLst/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effectLst/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effectLst/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effectLst/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+mn-cs"/>
                        </a:rPr>
                        <a:t>Includes: GLX, AFC 2, Bus, Keolis, … 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June 2018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September 2018</a:t>
                      </a:r>
                    </a:p>
                    <a:p>
                      <a:pPr marL="285750" marR="0" lvl="0" indent="-28575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Requested April 30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MCB Calendar – To Be Schedule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in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42672153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MBTA Template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10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4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96354B8BDED4448FEBF3FFDAC60C18" ma:contentTypeVersion="2" ma:contentTypeDescription="Create a new document." ma:contentTypeScope="" ma:versionID="0ffc2dc4191fa9cb06781b06fe5bebb2">
  <xsd:schema xmlns:xsd="http://www.w3.org/2001/XMLSchema" xmlns:xs="http://www.w3.org/2001/XMLSchema" xmlns:p="http://schemas.microsoft.com/office/2006/metadata/properties" xmlns:ns2="d907f664-4418-4475-8a9b-5910fb2fdb2b" targetNamespace="http://schemas.microsoft.com/office/2006/metadata/properties" ma:root="true" ma:fieldsID="341c587a6b39be732fe300b8e19abeb1" ns2:_="">
    <xsd:import namespace="d907f664-4418-4475-8a9b-5910fb2fdb2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7f664-4418-4475-8a9b-5910fb2fdb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98C1EC-48ED-4A24-89A6-F87FF560B4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07f664-4418-4475-8a9b-5910fb2fdb2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0F1FC64-E47D-4612-8598-863A817D5AF1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29527</TotalTime>
  <Words>341</Words>
  <Application>Microsoft Office PowerPoint</Application>
  <PresentationFormat>On-screen Show (16:9)</PresentationFormat>
  <Paragraphs>139</Paragraphs>
  <Slides>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3</vt:i4>
      </vt:variant>
      <vt:variant>
        <vt:lpstr>Slide Titles</vt:lpstr>
      </vt:variant>
      <vt:variant>
        <vt:i4>4</vt:i4>
      </vt:variant>
    </vt:vector>
  </HeadingPairs>
  <TitlesOfParts>
    <vt:vector size="17" baseType="lpstr">
      <vt:lpstr>MBTA Template</vt:lpstr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FMCB Calendar – Recurring Topics</vt:lpstr>
      <vt:lpstr>Upcoming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vision highlights - Aeronautics</dc:title>
  <dc:creator>Trey Joseph Wadsworth</dc:creator>
  <cp:lastModifiedBy>DAS</cp:lastModifiedBy>
  <cp:revision>855</cp:revision>
  <cp:lastPrinted>2018-05-04T16:52:37Z</cp:lastPrinted>
  <dcterms:created xsi:type="dcterms:W3CDTF">2016-03-11T16:43:25Z</dcterms:created>
  <dcterms:modified xsi:type="dcterms:W3CDTF">2018-05-14T15:3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96354B8BDED4448FEBF3FFDAC60C18</vt:lpwstr>
  </property>
</Properties>
</file>